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1"/>
  </p:notesMasterIdLst>
  <p:handoutMasterIdLst>
    <p:handoutMasterId r:id="rId212"/>
  </p:handoutMasterIdLst>
  <p:sldIdLst>
    <p:sldId id="2147469997" r:id="rId16"/>
    <p:sldId id="2134805319" r:id="rId17"/>
    <p:sldId id="361" r:id="rId18"/>
    <p:sldId id="565" r:id="rId19"/>
    <p:sldId id="2147469893" r:id="rId20"/>
    <p:sldId id="2076137603" r:id="rId21"/>
    <p:sldId id="2147469889" r:id="rId22"/>
    <p:sldId id="2147469890" r:id="rId23"/>
    <p:sldId id="2147469891" r:id="rId24"/>
    <p:sldId id="2134805339" r:id="rId25"/>
    <p:sldId id="2134805401" r:id="rId26"/>
    <p:sldId id="331" r:id="rId27"/>
    <p:sldId id="2134805361" r:id="rId28"/>
    <p:sldId id="2147469912" r:id="rId29"/>
    <p:sldId id="2147469922" r:id="rId30"/>
    <p:sldId id="2134805395" r:id="rId31"/>
    <p:sldId id="2147469916" r:id="rId32"/>
    <p:sldId id="2147469913" r:id="rId33"/>
    <p:sldId id="2147469914" r:id="rId34"/>
    <p:sldId id="2147469915" r:id="rId35"/>
    <p:sldId id="2147469981" r:id="rId36"/>
    <p:sldId id="2147469917" r:id="rId37"/>
    <p:sldId id="2147469918" r:id="rId38"/>
    <p:sldId id="2134805351" r:id="rId39"/>
    <p:sldId id="2134805352" r:id="rId40"/>
    <p:sldId id="2147469919" r:id="rId41"/>
    <p:sldId id="2134805356" r:id="rId42"/>
    <p:sldId id="2147469920" r:id="rId43"/>
    <p:sldId id="2147469921" r:id="rId44"/>
    <p:sldId id="2134805357" r:id="rId45"/>
    <p:sldId id="2361" r:id="rId46"/>
    <p:sldId id="2134805399" r:id="rId47"/>
    <p:sldId id="2134805391" r:id="rId48"/>
    <p:sldId id="2134805336" r:id="rId49"/>
    <p:sldId id="2134805397" r:id="rId50"/>
    <p:sldId id="2134805398" r:id="rId51"/>
    <p:sldId id="2147469902" r:id="rId52"/>
    <p:sldId id="2147469900" r:id="rId53"/>
    <p:sldId id="2147469903" r:id="rId54"/>
    <p:sldId id="2147469974" r:id="rId55"/>
    <p:sldId id="2147469925" r:id="rId56"/>
    <p:sldId id="2134805392" r:id="rId57"/>
    <p:sldId id="2147469924" r:id="rId58"/>
    <p:sldId id="452" r:id="rId59"/>
    <p:sldId id="2134805322" r:id="rId60"/>
    <p:sldId id="2357" r:id="rId61"/>
    <p:sldId id="2358" r:id="rId62"/>
    <p:sldId id="2147469928" r:id="rId63"/>
    <p:sldId id="2147469929" r:id="rId64"/>
    <p:sldId id="2134805371" r:id="rId65"/>
    <p:sldId id="2134805372" r:id="rId66"/>
    <p:sldId id="2134805373" r:id="rId67"/>
    <p:sldId id="2134805374" r:id="rId68"/>
    <p:sldId id="2134805375" r:id="rId69"/>
    <p:sldId id="2134805376" r:id="rId70"/>
    <p:sldId id="2134805377" r:id="rId71"/>
    <p:sldId id="2134805378" r:id="rId72"/>
    <p:sldId id="2147469933" r:id="rId73"/>
    <p:sldId id="2147469935" r:id="rId74"/>
    <p:sldId id="2147469938" r:id="rId75"/>
    <p:sldId id="376" r:id="rId76"/>
    <p:sldId id="2147469926" r:id="rId77"/>
    <p:sldId id="2134805321" r:id="rId78"/>
    <p:sldId id="2147469944" r:id="rId79"/>
    <p:sldId id="2147469939" r:id="rId80"/>
    <p:sldId id="2147469940" r:id="rId81"/>
    <p:sldId id="2147469941" r:id="rId82"/>
    <p:sldId id="2147469942" r:id="rId83"/>
    <p:sldId id="2147469943" r:id="rId84"/>
    <p:sldId id="2147469955" r:id="rId85"/>
    <p:sldId id="2147469896" r:id="rId86"/>
    <p:sldId id="2147469980" r:id="rId87"/>
    <p:sldId id="2147469961" r:id="rId88"/>
    <p:sldId id="2147469962" r:id="rId89"/>
    <p:sldId id="2147469963" r:id="rId90"/>
    <p:sldId id="2980" r:id="rId91"/>
    <p:sldId id="8747" r:id="rId92"/>
    <p:sldId id="8748" r:id="rId93"/>
    <p:sldId id="2147469972" r:id="rId94"/>
    <p:sldId id="2134805340" r:id="rId95"/>
    <p:sldId id="2147469898" r:id="rId96"/>
    <p:sldId id="2134805387" r:id="rId97"/>
    <p:sldId id="2134805380" r:id="rId98"/>
    <p:sldId id="2147469968" r:id="rId99"/>
    <p:sldId id="2147469975" r:id="rId100"/>
    <p:sldId id="2147469969" r:id="rId101"/>
    <p:sldId id="2147469978" r:id="rId102"/>
    <p:sldId id="2147469989" r:id="rId103"/>
    <p:sldId id="2147469977" r:id="rId104"/>
    <p:sldId id="2147469979" r:id="rId105"/>
    <p:sldId id="2147469983" r:id="rId106"/>
    <p:sldId id="2147469984" r:id="rId107"/>
    <p:sldId id="2147469985" r:id="rId108"/>
    <p:sldId id="2147469988" r:id="rId109"/>
    <p:sldId id="2147469986" r:id="rId110"/>
    <p:sldId id="2147469987" r:id="rId111"/>
    <p:sldId id="2147469990" r:id="rId112"/>
    <p:sldId id="2147469991" r:id="rId113"/>
    <p:sldId id="2147469982" r:id="rId114"/>
    <p:sldId id="2147469894" r:id="rId115"/>
    <p:sldId id="2147469904" r:id="rId116"/>
    <p:sldId id="2147469957" r:id="rId117"/>
    <p:sldId id="2147469956" r:id="rId118"/>
    <p:sldId id="2147469958" r:id="rId119"/>
    <p:sldId id="2147470004" r:id="rId120"/>
    <p:sldId id="2147470005" r:id="rId121"/>
    <p:sldId id="2134805407" r:id="rId122"/>
    <p:sldId id="2134805404" r:id="rId123"/>
    <p:sldId id="2134805408" r:id="rId124"/>
    <p:sldId id="2134805470" r:id="rId125"/>
    <p:sldId id="2134805471" r:id="rId126"/>
    <p:sldId id="2147470006" r:id="rId127"/>
    <p:sldId id="2134805414" r:id="rId128"/>
    <p:sldId id="2134805415" r:id="rId129"/>
    <p:sldId id="2134805419" r:id="rId130"/>
    <p:sldId id="2134805416" r:id="rId131"/>
    <p:sldId id="2134805417" r:id="rId132"/>
    <p:sldId id="2134805418" r:id="rId133"/>
    <p:sldId id="2134805420" r:id="rId134"/>
    <p:sldId id="2134805421" r:id="rId135"/>
    <p:sldId id="2134805493" r:id="rId136"/>
    <p:sldId id="2147469998" r:id="rId137"/>
    <p:sldId id="2147469999" r:id="rId138"/>
    <p:sldId id="2134805496" r:id="rId139"/>
    <p:sldId id="2134805497" r:id="rId140"/>
    <p:sldId id="2134805498" r:id="rId141"/>
    <p:sldId id="2134805499" r:id="rId142"/>
    <p:sldId id="2134805495" r:id="rId143"/>
    <p:sldId id="2147470000" r:id="rId144"/>
    <p:sldId id="2147470001" r:id="rId145"/>
    <p:sldId id="2134805427" r:id="rId146"/>
    <p:sldId id="2134805428" r:id="rId147"/>
    <p:sldId id="2134805429" r:id="rId148"/>
    <p:sldId id="2147470002" r:id="rId149"/>
    <p:sldId id="2134805500" r:id="rId150"/>
    <p:sldId id="2134805501" r:id="rId151"/>
    <p:sldId id="2134805440" r:id="rId152"/>
    <p:sldId id="2134805439" r:id="rId153"/>
    <p:sldId id="2134805441" r:id="rId154"/>
    <p:sldId id="2134805442" r:id="rId155"/>
    <p:sldId id="2134805434" r:id="rId156"/>
    <p:sldId id="2134805445" r:id="rId157"/>
    <p:sldId id="2134805473" r:id="rId158"/>
    <p:sldId id="2134805474" r:id="rId159"/>
    <p:sldId id="2134805475" r:id="rId160"/>
    <p:sldId id="2134805476" r:id="rId161"/>
    <p:sldId id="2134805477" r:id="rId162"/>
    <p:sldId id="2134805436" r:id="rId163"/>
    <p:sldId id="2134805478" r:id="rId164"/>
    <p:sldId id="2134805479" r:id="rId165"/>
    <p:sldId id="2134805437" r:id="rId166"/>
    <p:sldId id="2134805438" r:id="rId167"/>
    <p:sldId id="2134805480" r:id="rId168"/>
    <p:sldId id="2134805481" r:id="rId169"/>
    <p:sldId id="2134805431" r:id="rId170"/>
    <p:sldId id="2134805482" r:id="rId171"/>
    <p:sldId id="2134805483" r:id="rId172"/>
    <p:sldId id="2134805484" r:id="rId173"/>
    <p:sldId id="2134805455" r:id="rId174"/>
    <p:sldId id="2134805485" r:id="rId175"/>
    <p:sldId id="2134805486" r:id="rId176"/>
    <p:sldId id="2134805487" r:id="rId177"/>
    <p:sldId id="2134805488" r:id="rId178"/>
    <p:sldId id="2134805457" r:id="rId179"/>
    <p:sldId id="2134805458" r:id="rId180"/>
    <p:sldId id="2134805454" r:id="rId181"/>
    <p:sldId id="2147469945" r:id="rId182"/>
    <p:sldId id="2147469947" r:id="rId183"/>
    <p:sldId id="8706" r:id="rId184"/>
    <p:sldId id="8685" r:id="rId185"/>
    <p:sldId id="8689" r:id="rId186"/>
    <p:sldId id="8692" r:id="rId187"/>
    <p:sldId id="8693" r:id="rId188"/>
    <p:sldId id="8686" r:id="rId189"/>
    <p:sldId id="8694" r:id="rId190"/>
    <p:sldId id="8710" r:id="rId191"/>
    <p:sldId id="2134805393" r:id="rId192"/>
    <p:sldId id="8696" r:id="rId193"/>
    <p:sldId id="2147469948" r:id="rId194"/>
    <p:sldId id="2134805400" r:id="rId195"/>
    <p:sldId id="8697" r:id="rId196"/>
    <p:sldId id="10056" r:id="rId197"/>
    <p:sldId id="10074" r:id="rId198"/>
    <p:sldId id="2134805394" r:id="rId199"/>
    <p:sldId id="10057" r:id="rId200"/>
    <p:sldId id="10060" r:id="rId201"/>
    <p:sldId id="2147469949" r:id="rId202"/>
    <p:sldId id="2147469950" r:id="rId203"/>
    <p:sldId id="10014" r:id="rId204"/>
    <p:sldId id="10073" r:id="rId205"/>
    <p:sldId id="2147469951" r:id="rId206"/>
    <p:sldId id="8688" r:id="rId207"/>
    <p:sldId id="2134805396" r:id="rId208"/>
    <p:sldId id="2147470003" r:id="rId209"/>
    <p:sldId id="2147469895" r:id="rId21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34805319"/>
            <p14:sldId id="361"/>
            <p14:sldId id="565"/>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Agenda" id="{EC196F7E-C66C-4E6D-A529-F29F08460426}">
          <p14:sldIdLst>
            <p14:sldId id="33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57"/>
            <p14:sldId id="2147469956"/>
            <p14:sldId id="2147469958"/>
            <p14:sldId id="2147470004"/>
            <p14:sldId id="2147470005"/>
            <p14:sldId id="2134805407"/>
            <p14:sldId id="2134805404"/>
            <p14:sldId id="2134805408"/>
            <p14:sldId id="2134805470"/>
            <p14:sldId id="2134805471"/>
            <p14:sldId id="2147470006"/>
            <p14:sldId id="2134805414"/>
            <p14:sldId id="2134805415"/>
            <p14:sldId id="2134805419"/>
            <p14:sldId id="2134805416"/>
            <p14:sldId id="2134805417"/>
            <p14:sldId id="2134805418"/>
            <p14:sldId id="2134805420"/>
            <p14:sldId id="2134805421"/>
            <p14:sldId id="2134805493"/>
            <p14:sldId id="2147469998"/>
            <p14:sldId id="2147469999"/>
            <p14:sldId id="2134805496"/>
            <p14:sldId id="2134805497"/>
            <p14:sldId id="2134805498"/>
            <p14:sldId id="2134805499"/>
            <p14:sldId id="2134805495"/>
            <p14:sldId id="2147470000"/>
            <p14:sldId id="2147470001"/>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4"/>
            <p14:sldId id="2134805475"/>
            <p14:sldId id="2134805476"/>
            <p14:sldId id="2134805477"/>
            <p14:sldId id="2134805436"/>
            <p14:sldId id="2134805478"/>
            <p14:sldId id="2134805479"/>
            <p14:sldId id="2134805437"/>
            <p14:sldId id="2134805438"/>
            <p14:sldId id="2134805480"/>
            <p14:sldId id="2134805481"/>
            <p14:sldId id="2134805431"/>
            <p14:sldId id="2134805482"/>
            <p14:sldId id="2134805483"/>
            <p14:sldId id="2134805484"/>
            <p14:sldId id="2134805455"/>
            <p14:sldId id="2134805485"/>
            <p14:sldId id="2134805486"/>
            <p14:sldId id="2134805487"/>
            <p14:sldId id="2134805488"/>
            <p14:sldId id="2134805457"/>
            <p14:sldId id="2134805458"/>
            <p14:sldId id="2134805454"/>
            <p14:sldId id="214746994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70003"/>
            <p14:sldId id="214746989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B4B2FADB-1391-4175-AFC9-02E3A99082C3}" v="7" dt="2022-03-09T17:29:31.68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627" autoAdjust="0"/>
  </p:normalViewPr>
  <p:slideViewPr>
    <p:cSldViewPr snapToGrid="0">
      <p:cViewPr varScale="1">
        <p:scale>
          <a:sx n="117" d="100"/>
          <a:sy n="117" d="100"/>
        </p:scale>
        <p:origin x="1776"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theme" Target="theme/theme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microsoft.com/office/2016/11/relationships/changesInfo" Target="changesInfos/changesInfo1.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microsoft.com/office/2015/10/relationships/revisionInfo" Target="revisionInfo.xml"/><Relationship Id="rId3" Type="http://schemas.openxmlformats.org/officeDocument/2006/relationships/customXml" Target="../customXml/item3.xml"/><Relationship Id="rId214" Type="http://schemas.openxmlformats.org/officeDocument/2006/relationships/presProps" Target="presProps.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viewProps" Target="viewProps.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notesMaster" Target="notesMasters/notesMaster1.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handoutMaster" Target="handoutMasters/handoutMaster1.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7/2022 3:2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7/2022 3:2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4: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26403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3</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9</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70</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71</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72</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73</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74</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76</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7</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78</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79</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0</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84</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89</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90</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22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91</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92</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7/2022 3:2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54.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9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7/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7/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9/17/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9/17/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7/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7/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9/17/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9/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9/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9/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9/1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9/1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9/1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9/17/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994"/>
          </a:xfrm>
          <a:noFill/>
        </p:spPr>
        <p:txBody>
          <a:bodyPr rtlCol="0"/>
          <a:lstStyle>
            <a:lvl1pPr marL="0" indent="0" algn="ctr" defTabSz="-18865642" rtl="0" eaLnBrk="1" fontAlgn="base" hangingPunct="1">
              <a:spcBef>
                <a:spcPct val="0"/>
              </a:spcBef>
              <a:spcAft>
                <a:spcPct val="0"/>
              </a:spcAft>
              <a:defRPr lang="en-US" sz="3808"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21745" y="1398905"/>
            <a:ext cx="11191399" cy="1925399"/>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6"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934949"/>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 id="2147485327"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17/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83.png"/><Relationship Id="rId7" Type="http://schemas.openxmlformats.org/officeDocument/2006/relationships/image" Target="../media/image86.wmf"/><Relationship Id="rId2" Type="http://schemas.openxmlformats.org/officeDocument/2006/relationships/notesSlide" Target="../notesSlides/notesSlide6.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2.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3" Type="http://schemas.openxmlformats.org/officeDocument/2006/relationships/hyperlink" Target="https://www.nytimes.com/interactive/projects/london2012/results" TargetMode="External"/><Relationship Id="rId2" Type="http://schemas.openxmlformats.org/officeDocument/2006/relationships/image" Target="../media/image160.pn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75.xml"/></Relationships>
</file>

<file path=ppt/slides/_rels/slide10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5.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7.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10.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5.xml"/></Relationships>
</file>

<file path=ppt/slides/_rels/slide11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3.xml"/><Relationship Id="rId1" Type="http://schemas.openxmlformats.org/officeDocument/2006/relationships/slideLayout" Target="../slideLayouts/slideLayout75.xml"/><Relationship Id="rId4" Type="http://schemas.openxmlformats.org/officeDocument/2006/relationships/image" Target="../media/image166.png"/></Relationships>
</file>

<file path=ppt/slides/_rels/slide11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7.xml"/></Relationships>
</file>

<file path=ppt/slides/_rels/slide120.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87.gif"/><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49.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microsoft.com/office/2007/relationships/hdphoto" Target="../media/hdphoto1.wdp"/><Relationship Id="rId4" Type="http://schemas.openxmlformats.org/officeDocument/2006/relationships/image" Target="../media/image92.png"/><Relationship Id="rId9" Type="http://schemas.openxmlformats.org/officeDocument/2006/relationships/image" Target="../media/image97.png"/></Relationships>
</file>

<file path=ppt/slides/_rels/slide150.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75.xml"/></Relationships>
</file>

<file path=ppt/slides/_rels/slide151.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4.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55.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5.xml"/></Relationships>
</file>

<file path=ppt/slides/_rels/slide156.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5.xml"/></Relationships>
</file>

<file path=ppt/slides/_rels/slide157.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5.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9.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75.xml"/></Relationships>
</file>

<file path=ppt/slides/_rels/slide161.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75.xml"/></Relationships>
</file>

<file path=ppt/slides/_rels/slide162.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75.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64.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204.png"/><Relationship Id="rId1" Type="http://schemas.openxmlformats.org/officeDocument/2006/relationships/slideLayout" Target="../slideLayouts/slideLayout75.xml"/><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6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69.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54.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55.xml"/><Relationship Id="rId1" Type="http://schemas.openxmlformats.org/officeDocument/2006/relationships/slideLayout" Target="../slideLayouts/slideLayout79.xml"/><Relationship Id="rId4" Type="http://schemas.openxmlformats.org/officeDocument/2006/relationships/image" Target="../media/image208.png"/></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9.jpeg"/></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0.jpeg"/></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1.jpeg"/></Relationships>
</file>

<file path=ppt/slides/_rels/slide174.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59.xml"/><Relationship Id="rId1" Type="http://schemas.openxmlformats.org/officeDocument/2006/relationships/slideLayout" Target="../slideLayouts/slideLayout79.xml"/><Relationship Id="rId4" Type="http://schemas.openxmlformats.org/officeDocument/2006/relationships/image" Target="../media/image208.png"/></Relationships>
</file>

<file path=ppt/slides/_rels/slide1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0.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76.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1.xml"/><Relationship Id="rId1" Type="http://schemas.openxmlformats.org/officeDocument/2006/relationships/slideLayout" Target="../slideLayouts/slideLayout53.xml"/></Relationships>
</file>

<file path=ppt/slides/_rels/slide177.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2.xml"/><Relationship Id="rId1" Type="http://schemas.openxmlformats.org/officeDocument/2006/relationships/slideLayout" Target="../slideLayouts/slideLayout53.xml"/></Relationships>
</file>

<file path=ppt/slides/_rels/slide1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3.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4.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5.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1.xml.rels><?xml version="1.0" encoding="UTF-8" standalone="yes"?>
<Relationships xmlns="http://schemas.openxmlformats.org/package/2006/relationships"><Relationship Id="rId3" Type="http://schemas.openxmlformats.org/officeDocument/2006/relationships/image" Target="../media/image212.emf"/><Relationship Id="rId2" Type="http://schemas.openxmlformats.org/officeDocument/2006/relationships/notesSlide" Target="../notesSlides/notesSlide66.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8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83.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84.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85.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image" Target="../media/image213.jpeg"/><Relationship Id="rId1" Type="http://schemas.openxmlformats.org/officeDocument/2006/relationships/slideLayout" Target="../slideLayouts/slideLayout57.xml"/></Relationships>
</file>

<file path=ppt/slides/_rels/slide18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57.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88.xml.rels><?xml version="1.0" encoding="UTF-8" standalone="yes"?>
<Relationships xmlns="http://schemas.openxmlformats.org/package/2006/relationships"><Relationship Id="rId2" Type="http://schemas.openxmlformats.org/officeDocument/2006/relationships/image" Target="../media/image217.jpeg"/><Relationship Id="rId1" Type="http://schemas.openxmlformats.org/officeDocument/2006/relationships/slideLayout" Target="../slideLayouts/slideLayout55.xml"/></Relationships>
</file>

<file path=ppt/slides/_rels/slide189.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68.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69.xml"/><Relationship Id="rId1" Type="http://schemas.openxmlformats.org/officeDocument/2006/relationships/slideLayout" Target="../slideLayouts/slideLayout57.xml"/></Relationships>
</file>

<file path=ppt/slides/_rels/slide191.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70.xml"/><Relationship Id="rId1" Type="http://schemas.openxmlformats.org/officeDocument/2006/relationships/slideLayout" Target="../slideLayouts/slideLayout57.xml"/></Relationships>
</file>

<file path=ppt/slides/_rels/slide19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71.xml"/><Relationship Id="rId1" Type="http://schemas.openxmlformats.org/officeDocument/2006/relationships/slideLayout" Target="../slideLayouts/slideLayout7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195.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2.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4.bin"/><Relationship Id="rId1" Type="http://schemas.openxmlformats.org/officeDocument/2006/relationships/slideLayout" Target="../slideLayouts/slideLayout75.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6.svg"/><Relationship Id="rId3" Type="http://schemas.openxmlformats.org/officeDocument/2006/relationships/image" Target="../media/image104.svg"/><Relationship Id="rId7" Type="http://schemas.openxmlformats.org/officeDocument/2006/relationships/image" Target="../media/image113.svg"/><Relationship Id="rId12" Type="http://schemas.openxmlformats.org/officeDocument/2006/relationships/image" Target="../media/image105.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7.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07.png"/><Relationship Id="rId9" Type="http://schemas.openxmlformats.org/officeDocument/2006/relationships/image" Target="../media/image115.sv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Layout" Target="../slideLayouts/slideLayout74.xml"/><Relationship Id="rId4" Type="http://schemas.openxmlformats.org/officeDocument/2006/relationships/image" Target="../media/image119.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40.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notesSlide" Target="../notesSlides/notesSlide27.xml"/><Relationship Id="rId16" Type="http://schemas.openxmlformats.org/officeDocument/2006/relationships/image" Target="../media/image133.svg"/><Relationship Id="rId1" Type="http://schemas.openxmlformats.org/officeDocument/2006/relationships/slideLayout" Target="../slideLayouts/slideLayout536.xml"/><Relationship Id="rId6" Type="http://schemas.openxmlformats.org/officeDocument/2006/relationships/image" Target="../media/image123.sv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21.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3.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9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2.png"/><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4.pn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2.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Power Platform Conference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Visual Encoding</a:t>
            </a:r>
          </a:p>
        </p:txBody>
      </p:sp>
      <p:sp>
        <p:nvSpPr>
          <p:cNvPr id="4" name="TextBox 3">
            <a:extLst>
              <a:ext uri="{FF2B5EF4-FFF2-40B4-BE49-F238E27FC236}">
                <a16:creationId xmlns:a16="http://schemas.microsoft.com/office/drawing/2014/main" id="{D3245058-7515-853D-4580-09A59143DED8}"/>
              </a:ext>
            </a:extLst>
          </p:cNvPr>
          <p:cNvSpPr txBox="1"/>
          <p:nvPr/>
        </p:nvSpPr>
        <p:spPr>
          <a:xfrm>
            <a:off x="599982" y="1404257"/>
            <a:ext cx="8463214" cy="307777"/>
          </a:xfrm>
          <a:prstGeom prst="rect">
            <a:avLst/>
          </a:prstGeom>
          <a:noFill/>
        </p:spPr>
        <p:txBody>
          <a:bodyPr wrap="none" lIns="0" tIns="0" rIns="0" bIns="0" rtlCol="0">
            <a:spAutoFit/>
          </a:bodyPr>
          <a:lstStyle/>
          <a:p>
            <a:pPr algn="l"/>
            <a:r>
              <a:rPr lang="en-US" sz="2000" dirty="0"/>
              <a:t>For visualizations, it’s the idea of mapping data onto attributes of an object.</a:t>
            </a:r>
          </a:p>
        </p:txBody>
      </p:sp>
    </p:spTree>
    <p:extLst>
      <p:ext uri="{BB962C8B-B14F-4D97-AF65-F5344CB8AC3E}">
        <p14:creationId xmlns:p14="http://schemas.microsoft.com/office/powerpoint/2010/main" val="4111129342"/>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A1DF6C-B8B8-6382-D74D-60B69CE1FD23}"/>
              </a:ext>
            </a:extLst>
          </p:cNvPr>
          <p:cNvPicPr>
            <a:picLocks noChangeAspect="1"/>
          </p:cNvPicPr>
          <p:nvPr/>
        </p:nvPicPr>
        <p:blipFill>
          <a:blip r:embed="rId2"/>
          <a:stretch>
            <a:fillRect/>
          </a:stretch>
        </p:blipFill>
        <p:spPr>
          <a:xfrm>
            <a:off x="-1" y="0"/>
            <a:ext cx="12405275" cy="5829300"/>
          </a:xfrm>
          <a:prstGeom prst="rect">
            <a:avLst/>
          </a:prstGeom>
        </p:spPr>
      </p:pic>
      <p:sp>
        <p:nvSpPr>
          <p:cNvPr id="6" name="TextBox 5">
            <a:extLst>
              <a:ext uri="{FF2B5EF4-FFF2-40B4-BE49-F238E27FC236}">
                <a16:creationId xmlns:a16="http://schemas.microsoft.com/office/drawing/2014/main" id="{B31F7F4A-2181-AF1F-70FD-B5FFC01F50E7}"/>
              </a:ext>
            </a:extLst>
          </p:cNvPr>
          <p:cNvSpPr txBox="1"/>
          <p:nvPr/>
        </p:nvSpPr>
        <p:spPr>
          <a:xfrm>
            <a:off x="4718957" y="6368142"/>
            <a:ext cx="7425302" cy="307777"/>
          </a:xfrm>
          <a:prstGeom prst="rect">
            <a:avLst/>
          </a:prstGeom>
          <a:noFill/>
        </p:spPr>
        <p:txBody>
          <a:bodyPr wrap="none" lIns="0" tIns="0" rIns="0" bIns="0" rtlCol="0">
            <a:spAutoFit/>
          </a:bodyPr>
          <a:lstStyle/>
          <a:p>
            <a:pPr algn="l"/>
            <a:r>
              <a:rPr lang="en-US" sz="2000" dirty="0">
                <a:hlinkClick r:id="rId3"/>
              </a:rPr>
              <a:t>https://www.nytimes.com/interactive/projects/london2012/results</a:t>
            </a:r>
            <a:endParaRPr lang="en-US" sz="2000" dirty="0"/>
          </a:p>
        </p:txBody>
      </p:sp>
    </p:spTree>
    <p:extLst>
      <p:ext uri="{BB962C8B-B14F-4D97-AF65-F5344CB8AC3E}">
        <p14:creationId xmlns:p14="http://schemas.microsoft.com/office/powerpoint/2010/main" val="248321455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62178"/>
                                        </p:tgtEl>
                                        <p:attrNameLst>
                                          <p:attrName>style.visibility</p:attrName>
                                        </p:attrNameLst>
                                      </p:cBhvr>
                                      <p:to>
                                        <p:strVal val="visible"/>
                                      </p:to>
                                    </p:set>
                                    <p:anim calcmode="lin" valueType="num">
                                      <p:cBhvr additive="base">
                                        <p:cTn id="15" dur="500" fill="hold"/>
                                        <p:tgtEl>
                                          <p:spTgt spid="562178"/>
                                        </p:tgtEl>
                                        <p:attrNameLst>
                                          <p:attrName>ppt_x</p:attrName>
                                        </p:attrNameLst>
                                      </p:cBhvr>
                                      <p:tavLst>
                                        <p:tav tm="0">
                                          <p:val>
                                            <p:strVal val="#ppt_x"/>
                                          </p:val>
                                        </p:tav>
                                        <p:tav tm="100000">
                                          <p:val>
                                            <p:strVal val="#ppt_x"/>
                                          </p:val>
                                        </p:tav>
                                      </p:tavLst>
                                    </p:anim>
                                    <p:anim calcmode="lin" valueType="num">
                                      <p:cBhvr additive="base">
                                        <p:cTn id="16"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4"/>
            <a:ext cx="11149186" cy="1883353"/>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a:p>
            <a:pPr algn="ctr"/>
            <a:endParaRPr lang="en-US" sz="3600" dirty="0"/>
          </a:p>
        </p:txBody>
      </p:sp>
    </p:spTree>
    <p:extLst>
      <p:ext uri="{BB962C8B-B14F-4D97-AF65-F5344CB8AC3E}">
        <p14:creationId xmlns:p14="http://schemas.microsoft.com/office/powerpoint/2010/main" val="113458113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88269899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960910775"/>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08:00 AM – 0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08:15 AM – 0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0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0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0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1+#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Selection of Report Filt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892797"/>
          </a:xfrm>
        </p:spPr>
        <p:txBody>
          <a:bodyPr/>
          <a:lstStyle/>
          <a:p>
            <a:r>
              <a:rPr lang="en-US"/>
              <a:t>Filter pane or Slicer</a:t>
            </a:r>
          </a:p>
          <a:p>
            <a:r>
              <a:rPr lang="en-US"/>
              <a:t>Filter pane</a:t>
            </a:r>
          </a:p>
          <a:p>
            <a:pPr lvl="1"/>
            <a:r>
              <a:rPr lang="en-US"/>
              <a:t>Advantages; same location, advanced filtering, better performance</a:t>
            </a:r>
          </a:p>
          <a:p>
            <a:pPr lvl="1"/>
            <a:r>
              <a:rPr lang="en-US"/>
              <a:t>Disadvantages; less design flexibility, more difficult to see which filters are applied</a:t>
            </a:r>
          </a:p>
          <a:p>
            <a:r>
              <a:rPr lang="en-US"/>
              <a:t>Slicers</a:t>
            </a:r>
          </a:p>
          <a:p>
            <a:pPr lvl="1"/>
            <a:r>
              <a:rPr lang="en-US"/>
              <a:t>Advantages; intuitive layout on report canvas, hierarchical slicer, filter context visible, support edit visual interaction, synced slicers</a:t>
            </a:r>
          </a:p>
          <a:p>
            <a:pPr lvl="1"/>
            <a:r>
              <a:rPr lang="en-US"/>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spTree>
    <p:extLst>
      <p:ext uri="{BB962C8B-B14F-4D97-AF65-F5344CB8AC3E}">
        <p14:creationId xmlns:p14="http://schemas.microsoft.com/office/powerpoint/2010/main" val="697804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spTree>
    <p:extLst>
      <p:ext uri="{BB962C8B-B14F-4D97-AF65-F5344CB8AC3E}">
        <p14:creationId xmlns:p14="http://schemas.microsoft.com/office/powerpoint/2010/main" val="154630521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520148"/>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spTree>
    <p:extLst>
      <p:ext uri="{BB962C8B-B14F-4D97-AF65-F5344CB8AC3E}">
        <p14:creationId xmlns:p14="http://schemas.microsoft.com/office/powerpoint/2010/main" val="1025525476"/>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ppt_x"/>
                                          </p:val>
                                        </p:tav>
                                        <p:tav tm="100000">
                                          <p:val>
                                            <p:strVal val="#ppt_x"/>
                                          </p:val>
                                        </p:tav>
                                      </p:tavLst>
                                    </p:anim>
                                    <p:anim calcmode="lin" valueType="num">
                                      <p:cBhvr additive="base">
                                        <p:cTn id="8"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214791"/>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marL="0" indent="0">
              <a:buNone/>
            </a:pPr>
            <a:endParaRPr lang="en-US"/>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6000" y="4098253"/>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spTree>
    <p:extLst>
      <p:ext uri="{BB962C8B-B14F-4D97-AF65-F5344CB8AC3E}">
        <p14:creationId xmlns:p14="http://schemas.microsoft.com/office/powerpoint/2010/main" val="3335761655"/>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7858" y="2109226"/>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676553"/>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pPr marL="0" indent="0">
              <a:buNone/>
            </a:pPr>
            <a:endParaRPr lang="en-US"/>
          </a:p>
          <a:p>
            <a:pPr marL="0" indent="0">
              <a:buNone/>
            </a:pPr>
            <a:endParaRPr lang="en-US" b="1"/>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4369130"/>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ppt_x"/>
                                          </p:val>
                                        </p:tav>
                                        <p:tav tm="100000">
                                          <p:val>
                                            <p:strVal val="#ppt_x"/>
                                          </p:val>
                                        </p:tav>
                                      </p:tavLst>
                                    </p:anim>
                                    <p:anim calcmode="lin" valueType="num">
                                      <p:cBhvr additive="base">
                                        <p:cTn id="8" dur="500" fill="hold"/>
                                        <p:tgtEl>
                                          <p:spTgt spid="1945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460"/>
                                        </p:tgtEl>
                                        <p:attrNameLst>
                                          <p:attrName>style.visibility</p:attrName>
                                        </p:attrNameLst>
                                      </p:cBhvr>
                                      <p:to>
                                        <p:strVal val="visible"/>
                                      </p:to>
                                    </p:set>
                                    <p:anim calcmode="lin" valueType="num">
                                      <p:cBhvr additive="base">
                                        <p:cTn id="13" dur="500" fill="hold"/>
                                        <p:tgtEl>
                                          <p:spTgt spid="19460"/>
                                        </p:tgtEl>
                                        <p:attrNameLst>
                                          <p:attrName>ppt_x</p:attrName>
                                        </p:attrNameLst>
                                      </p:cBhvr>
                                      <p:tavLst>
                                        <p:tav tm="0">
                                          <p:val>
                                            <p:strVal val="#ppt_x"/>
                                          </p:val>
                                        </p:tav>
                                        <p:tav tm="100000">
                                          <p:val>
                                            <p:strVal val="#ppt_x"/>
                                          </p:val>
                                        </p:tav>
                                      </p:tavLst>
                                    </p:anim>
                                    <p:anim calcmode="lin" valueType="num">
                                      <p:cBhvr additive="base">
                                        <p:cTn id="14" dur="500" fill="hold"/>
                                        <p:tgtEl>
                                          <p:spTgt spid="194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475089"/>
          </a:xfrm>
        </p:spPr>
        <p:txBody>
          <a:bodyPr/>
          <a:lstStyle/>
          <a:p>
            <a:r>
              <a:rPr lang="en-US"/>
              <a:t>Testing </a:t>
            </a:r>
          </a:p>
          <a:p>
            <a:pPr lvl="1"/>
            <a:r>
              <a:rPr lang="en-US"/>
              <a:t>User acceptance test, test on different interfaces (Service, mobile app, embedded)</a:t>
            </a:r>
          </a:p>
          <a:p>
            <a:r>
              <a:rPr lang="en-US"/>
              <a:t>Prepare for publication</a:t>
            </a:r>
          </a:p>
          <a:p>
            <a:pPr lvl="1"/>
            <a:r>
              <a:rPr lang="en-US"/>
              <a:t>Set intended initial experience, e.g., define first page, reset filters and slicers, visual drill state, sort orders, and button state</a:t>
            </a:r>
          </a:p>
          <a:p>
            <a:r>
              <a:rPr lang="en-US"/>
              <a:t>Provide support </a:t>
            </a:r>
          </a:p>
          <a:p>
            <a:pPr lvl="1"/>
            <a:r>
              <a:rPr lang="en-US"/>
              <a:t>Training, built-in assistance, documentation</a:t>
            </a:r>
          </a:p>
          <a:p>
            <a:r>
              <a:rPr lang="en-US"/>
              <a:t>Manage change </a:t>
            </a:r>
          </a:p>
          <a:p>
            <a:pPr lvl="1"/>
            <a:r>
              <a:rPr lang="en-US"/>
              <a:t>Often, it's better to publish a new report that includes many updates than release smaller incremental changes, consider using Deployment pipelines</a:t>
            </a:r>
          </a:p>
          <a:p>
            <a:pPr marL="0" indent="0">
              <a:buNone/>
            </a:pPr>
            <a:endParaRPr lang="en-US"/>
          </a:p>
        </p:txBody>
      </p:sp>
    </p:spTree>
    <p:extLst>
      <p:ext uri="{BB962C8B-B14F-4D97-AF65-F5344CB8AC3E}">
        <p14:creationId xmlns:p14="http://schemas.microsoft.com/office/powerpoint/2010/main" val="394809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Want more?</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r>
              <a:rPr lang="en-US" sz="3200" dirty="0"/>
              <a:t>. </a:t>
            </a:r>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69.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76.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7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1492071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358689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807E26-D60A-4BC0-9B6B-FF21DEC2B07A}">
  <ds:schemaRefs>
    <ds:schemaRef ds:uri="http://schemas.microsoft.com/sharepoint/v3/contenttype/forms"/>
  </ds:schemaRefs>
</ds:datastoreItem>
</file>

<file path=customXml/itemProps3.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96</TotalTime>
  <Words>13368</Words>
  <Application>Microsoft Office PowerPoint</Application>
  <PresentationFormat>Custom</PresentationFormat>
  <Paragraphs>2903</Paragraphs>
  <Slides>195</Slides>
  <Notes>72</Notes>
  <HiddenSlides>25</HiddenSlides>
  <MMClips>5</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195</vt:i4>
      </vt:variant>
    </vt:vector>
  </HeadingPairs>
  <TitlesOfParts>
    <vt:vector size="228"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Power Platform Conference Session resources</vt:lpstr>
      <vt:lpstr>THE DAY AFTER *DASHBOARD  IN A DAY * Technically it was a report</vt:lpstr>
      <vt:lpstr>PowerPoint Presentation</vt:lpstr>
      <vt:lpstr>Session Feedback Surveys</vt:lpstr>
      <vt:lpstr>A retrospective…</vt:lpstr>
      <vt:lpstr>The Evolution of BI</vt:lpstr>
      <vt:lpstr>Power BI  monthly active usage</vt:lpstr>
      <vt:lpstr>PowerPoint Presentation</vt:lpstr>
      <vt:lpstr>PowerPoint Presentation</vt:lpstr>
      <vt:lpstr>PowerPoint Presentation</vt:lpstr>
      <vt:lpstr>PowerPoint Presentation</vt:lpstr>
      <vt:lpstr>Agenda (times are approximate and will be fluid with the class)</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Visual Encoding</vt:lpstr>
      <vt:lpstr>PowerPoint Presentation</vt:lpstr>
      <vt:lpstr>Report Layout</vt:lpstr>
      <vt:lpstr>Report Layout</vt:lpstr>
      <vt:lpstr>Report Layout</vt:lpstr>
      <vt:lpstr>Report Layout</vt:lpstr>
      <vt:lpstr>Visual Selection</vt:lpstr>
      <vt:lpstr>PowerPoint Presentation</vt:lpstr>
      <vt:lpstr>Categorical Visuals</vt:lpstr>
      <vt:lpstr>Time Series Visuals</vt:lpstr>
      <vt:lpstr>Time Series Visuals</vt:lpstr>
      <vt:lpstr>Proportional Visuals </vt:lpstr>
      <vt:lpstr>Numeric Visuals</vt:lpstr>
      <vt:lpstr>Grid Visuals</vt:lpstr>
      <vt:lpstr>Performance Visuals</vt:lpstr>
      <vt:lpstr>Geospatial Visuals </vt:lpstr>
      <vt:lpstr>7 Steps In Report Building</vt:lpstr>
      <vt:lpstr>Filtering</vt:lpstr>
      <vt:lpstr>Filter Pane</vt:lpstr>
      <vt:lpstr>Filter Pane</vt:lpstr>
      <vt:lpstr>Filter Pane</vt:lpstr>
      <vt:lpstr>Filter Pane</vt:lpstr>
      <vt:lpstr>Filter Pane</vt:lpstr>
      <vt:lpstr>Filter Pane</vt:lpstr>
      <vt:lpstr>Slicers</vt:lpstr>
      <vt:lpstr>Slicers</vt:lpstr>
      <vt:lpstr>Advanced Filtering Techniques</vt:lpstr>
      <vt:lpstr>Selection of Report Filt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ookmarks</vt:lpstr>
      <vt:lpstr>Bookmarks</vt:lpstr>
      <vt:lpstr>Build Navigation With Buttons</vt:lpstr>
      <vt:lpstr>Build Navigation With Buttons</vt:lpstr>
      <vt:lpstr>Build Navigation With Buttons</vt:lpstr>
      <vt:lpstr>Visual Headers</vt:lpstr>
      <vt:lpstr>Using built-in Assistance</vt:lpstr>
      <vt:lpstr>Using built-in Assistance</vt:lpstr>
      <vt:lpstr>Using built-in Assistance</vt:lpstr>
      <vt:lpstr>AI Visuals</vt:lpstr>
      <vt:lpstr>AI Visuals</vt:lpstr>
      <vt:lpstr>AI Visuals</vt:lpstr>
      <vt:lpstr>AI Visuals</vt:lpstr>
      <vt:lpstr>Report Design Tools</vt:lpstr>
      <vt:lpstr>Report Design Tools</vt:lpstr>
      <vt:lpstr>Report Design Tools</vt:lpstr>
      <vt:lpstr>Report Design Tools</vt:lpstr>
      <vt:lpstr>Report Design Tools</vt:lpstr>
      <vt:lpstr>Mobile Experience</vt:lpstr>
      <vt:lpstr>Design Reports For Accessibility</vt:lpstr>
      <vt:lpstr>Before You Publish The Report</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 Survey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dam Saxton</cp:lastModifiedBy>
  <cp:revision>6</cp:revision>
  <dcterms:modified xsi:type="dcterms:W3CDTF">2022-09-17T21:5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